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xlsb" ContentType="application/vnd.ms-excel.sheet.binary.macroEnabled.12"/>
  <Default Extension="emf" ContentType="image/x-emf"/>
  <Default Extension="vml" ContentType="application/vnd.openxmlformats-officedocument.vmlDrawing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ppt/slides/slide193.xml" ContentType="application/vnd.openxmlformats-officedocument.presentationml.slide+xml"/>
  <Override PartName="/ppt/tags/tag656.xml" ContentType="application/vnd.openxmlformats-officedocument.presentationml.tags+xml"/>
  <Override PartName="/ppt/tags/tag661.xml" ContentType="application/vnd.openxmlformats-officedocument.presentationml.tags+xml"/>
  <Override PartName="/ppt/tags/tag669.xml" ContentType="application/vnd.openxmlformats-officedocument.presentationml.tags+xml"/>
  <Override PartName="/ppt/tags/tag646.xml" ContentType="application/vnd.openxmlformats-officedocument.presentationml.tags+xml"/>
  <Override PartName="/ppt/tags/tag664.xml" ContentType="application/vnd.openxmlformats-officedocument.presentationml.tags+xml"/>
  <Override PartName="/ppt/charts/chart22.xml" ContentType="application/vnd.openxmlformats-officedocument.drawingml.chart+xml"/>
  <Override PartName="/ppt/tags/tag650.xml" ContentType="application/vnd.openxmlformats-officedocument.presentationml.tags+xml"/>
  <Override PartName="/ppt/tags/tag655.xml" ContentType="application/vnd.openxmlformats-officedocument.presentationml.tags+xml"/>
  <Override PartName="/ppt/tags/tag660.xml" ContentType="application/vnd.openxmlformats-officedocument.presentationml.tags+xml"/>
  <Override PartName="/ppt/tags/tag668.xml" ContentType="application/vnd.openxmlformats-officedocument.presentationml.tags+xml"/>
  <Override PartName="/ppt/tags/tag645.xml" ContentType="application/vnd.openxmlformats-officedocument.presentationml.tags+xml"/>
  <Override PartName="/ppt/tags/tag659.xml" ContentType="application/vnd.openxmlformats-officedocument.presentationml.tags+xml"/>
  <Override PartName="/ppt/tags/tag663.xml" ContentType="application/vnd.openxmlformats-officedocument.presentationml.tags+xml"/>
  <Override PartName="/ppt/tags/tag672.xml" ContentType="application/vnd.openxmlformats-officedocument.presentationml.tags+xml"/>
  <Override PartName="/ppt/tags/tag649.xml" ContentType="application/vnd.openxmlformats-officedocument.presentationml.tags+xml"/>
  <Override PartName="/ppt/tags/tag654.xml" ContentType="application/vnd.openxmlformats-officedocument.presentationml.tags+xml"/>
  <Override PartName="/ppt/tags/tag667.xml" ContentType="application/vnd.openxmlformats-officedocument.presentationml.tags+xml"/>
  <Override PartName="/ppt/tags/tag648.xml" ContentType="application/vnd.openxmlformats-officedocument.presentationml.tags+xml"/>
  <Override PartName="/ppt/tags/tag658.xml" ContentType="application/vnd.openxmlformats-officedocument.presentationml.tags+xml"/>
  <Override PartName="/ppt/tags/tag666.xml" ContentType="application/vnd.openxmlformats-officedocument.presentationml.tags+xml"/>
  <Override PartName="/ppt/tags/tag671.xml" ContentType="application/vnd.openxmlformats-officedocument.presentationml.tags+xml"/>
  <Override PartName="/ppt/tags/tag653.xml" ContentType="application/vnd.openxmlformats-officedocument.presentationml.tags+xml"/>
  <Override PartName="/ppt/tags/tag662.xml" ContentType="application/vnd.openxmlformats-officedocument.presentationml.tags+xml"/>
  <Override PartName="/ppt/notesSlides/notesSlide193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tags/tag647.xml" ContentType="application/vnd.openxmlformats-officedocument.presentationml.tags+xml"/>
  <Override PartName="/ppt/tags/tag652.xml" ContentType="application/vnd.openxmlformats-officedocument.presentationml.tags+xml"/>
  <Override PartName="/ppt/tags/tag657.xml" ContentType="application/vnd.openxmlformats-officedocument.presentationml.tags+xml"/>
  <Override PartName="/ppt/tags/tag665.xml" ContentType="application/vnd.openxmlformats-officedocument.presentationml.tags+xml"/>
  <Override PartName="/ppt/tags/tag670.xml" ContentType="application/vnd.openxmlformats-officedocument.presentationml.tags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651.xml" ContentType="application/vnd.openxmlformats-officedocument.presentationml.tag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2147473121" r:id="rId196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slide" Target="/ppt/slides/slide193.xml" Id="rId196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charts/_rels/chart22.xml.rels>&#65279;<?xml version="1.0" encoding="utf-8"?><Relationships xmlns="http://schemas.openxmlformats.org/package/2006/relationships"><Relationship Type="http://schemas.openxmlformats.org/officeDocument/2006/relationships/package" Target="/ppt/embeddings/Microsoft_Excel_Binary_Worksheet21.xlsb" Id="rId1" /></Relationships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1369750205874279E-3"/>
          <c:y val="6.8149717514124297E-2"/>
          <c:w val="0.98572604995882518"/>
          <c:h val="0.8637005649717514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2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dPt>
            <c:idx val="5"/>
            <c:invertIfNegative val="0"/>
            <c:bubble3D val="0"/>
            <c:spPr>
              <a:solidFill>
                <a:schemeClr val="accent6"/>
              </a:solidFill>
              <a:ln w="952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F4F8-43D1-BDB3-0C48F947B1FE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6"/>
              </a:solidFill>
              <a:ln w="952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F4F8-43D1-BDB3-0C48F947B1FE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6"/>
              </a:solidFill>
              <a:ln w="952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F4F8-43D1-BDB3-0C48F947B1FE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6"/>
              </a:solidFill>
              <a:ln w="952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F4F8-43D1-BDB3-0C48F947B1FE}"/>
              </c:ext>
            </c:extLst>
          </c:dPt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F4F8-43D1-BDB3-0C48F947B1FE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F4F8-43D1-BDB3-0C48F947B1FE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F4F8-43D1-BDB3-0C48F947B1FE}"/>
                </c:ext>
              </c:extLst>
            </c:dLbl>
            <c:dLbl>
              <c:idx val="3"/>
              <c:layout>
                <c:manualLayout>
                  <c:x val="0"/>
                  <c:y val="-3.5310734463276836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F4F8-43D1-BDB3-0C48F947B1FE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F4F8-43D1-BDB3-0C48F947B1FE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F4F8-43D1-BDB3-0C48F947B1FE}"/>
                </c:ext>
              </c:extLst>
            </c:dLbl>
            <c:dLbl>
              <c:idx val="6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F4F8-43D1-BDB3-0C48F947B1FE}"/>
                </c:ext>
              </c:extLst>
            </c:dLbl>
            <c:dLbl>
              <c:idx val="7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F4F8-43D1-BDB3-0C48F947B1FE}"/>
                </c:ext>
              </c:extLst>
            </c:dLbl>
            <c:dLbl>
              <c:idx val="8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F4F8-43D1-BDB3-0C48F947B1F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I$1</c:f>
              <c:numCache>
                <c:formatCode>General</c:formatCode>
                <c:ptCount val="9"/>
                <c:pt idx="0">
                  <c:v>8</c:v>
                </c:pt>
                <c:pt idx="1">
                  <c:v>8.2149999999999999</c:v>
                </c:pt>
                <c:pt idx="2">
                  <c:v>10.88</c:v>
                </c:pt>
                <c:pt idx="3">
                  <c:v>16.701000000000001</c:v>
                </c:pt>
                <c:pt idx="4">
                  <c:v>13.846000000000002</c:v>
                </c:pt>
                <c:pt idx="5">
                  <c:v>25.056000000000001</c:v>
                </c:pt>
                <c:pt idx="6">
                  <c:v>25.706999999999997</c:v>
                </c:pt>
                <c:pt idx="7">
                  <c:v>29.447466666666699</c:v>
                </c:pt>
                <c:pt idx="8">
                  <c:v>33.0798380952381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F4F8-43D1-BDB3-0C48F947B1FE}"/>
            </c:ext>
          </c:extLst>
        </c:ser>
        <c:ser>
          <c:idx val="1"/>
          <c:order val="1"/>
          <c:spPr>
            <a:solidFill>
              <a:schemeClr val="accent1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dPt>
            <c:idx val="5"/>
            <c:invertIfNegative val="0"/>
            <c:bubble3D val="0"/>
            <c:spPr>
              <a:solidFill>
                <a:schemeClr val="accent5"/>
              </a:solidFill>
              <a:ln w="952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A-F4F8-43D1-BDB3-0C48F947B1FE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5"/>
              </a:solidFill>
              <a:ln w="952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B-F4F8-43D1-BDB3-0C48F947B1FE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5"/>
              </a:solidFill>
              <a:ln w="952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C-F4F8-43D1-BDB3-0C48F947B1FE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5"/>
              </a:solidFill>
              <a:ln w="952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D-F4F8-43D1-BDB3-0C48F947B1FE}"/>
              </c:ext>
            </c:extLst>
          </c:dPt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F4F8-43D1-BDB3-0C48F947B1FE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F4F8-43D1-BDB3-0C48F947B1FE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F4F8-43D1-BDB3-0C48F947B1FE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F4F8-43D1-BDB3-0C48F947B1FE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F4F8-43D1-BDB3-0C48F947B1FE}"/>
                </c:ext>
              </c:extLst>
            </c:dLbl>
            <c:dLbl>
              <c:idx val="5"/>
              <c:layout>
                <c:manualLayout>
                  <c:x val="0"/>
                  <c:y val="-3.5310734463276836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F4F8-43D1-BDB3-0C48F947B1FE}"/>
                </c:ext>
              </c:extLst>
            </c:dLbl>
            <c:dLbl>
              <c:idx val="6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F4F8-43D1-BDB3-0C48F947B1FE}"/>
                </c:ext>
              </c:extLst>
            </c:dLbl>
            <c:dLbl>
              <c:idx val="7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F4F8-43D1-BDB3-0C48F947B1FE}"/>
                </c:ext>
              </c:extLst>
            </c:dLbl>
            <c:dLbl>
              <c:idx val="8"/>
              <c:layout>
                <c:manualLayout>
                  <c:x val="0"/>
                  <c:y val="-3.5310734463276836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F4F8-43D1-BDB3-0C48F947B1F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I$2</c:f>
              <c:numCache>
                <c:formatCode>General</c:formatCode>
                <c:ptCount val="9"/>
                <c:pt idx="0">
                  <c:v>32</c:v>
                </c:pt>
                <c:pt idx="1">
                  <c:v>33.5</c:v>
                </c:pt>
                <c:pt idx="2">
                  <c:v>34.200000000000003</c:v>
                </c:pt>
                <c:pt idx="3">
                  <c:v>36.299999999999997</c:v>
                </c:pt>
                <c:pt idx="4">
                  <c:v>37.1</c:v>
                </c:pt>
                <c:pt idx="5">
                  <c:v>35.200000000000003</c:v>
                </c:pt>
                <c:pt idx="6">
                  <c:v>37.100000000000009</c:v>
                </c:pt>
                <c:pt idx="7">
                  <c:v>41.3</c:v>
                </c:pt>
                <c:pt idx="8">
                  <c:v>43.4000000000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F4F8-43D1-BDB3-0C48F947B1F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310859440"/>
        <c:axId val="1"/>
      </c:barChart>
      <c:catAx>
        <c:axId val="31085944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7F7F7F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5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31085944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197.vml.rels>&#65279;<?xml version="1.0" encoding="utf-8"?><Relationships xmlns="http://schemas.openxmlformats.org/package/2006/relationships"><Relationship Type="http://schemas.openxmlformats.org/officeDocument/2006/relationships/image" Target="/ppt/media/image211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93.xml.rels>&#65279;<?xml version="1.0" encoding="utf-8"?><Relationships xmlns="http://schemas.openxmlformats.org/package/2006/relationships"><Relationship Type="http://schemas.openxmlformats.org/officeDocument/2006/relationships/slide" Target="/ppt/slides/slide193.xml" Id="rId2" /><Relationship Type="http://schemas.openxmlformats.org/officeDocument/2006/relationships/notesMaster" Target="/ppt/notesMasters/notesMaster1.xml" Id="rId1" /></Relationships>
</file>

<file path=ppt/notesSlides/notesSlide19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224902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93.xml.rels>&#65279;<?xml version="1.0" encoding="utf-8"?><Relationships xmlns="http://schemas.openxmlformats.org/package/2006/relationships"><Relationship Type="http://schemas.openxmlformats.org/officeDocument/2006/relationships/tags" Target="/ppt/tags/tag656.xml" Id="rId13" /><Relationship Type="http://schemas.openxmlformats.org/officeDocument/2006/relationships/tags" Target="/ppt/tags/tag661.xml" Id="rId18" /><Relationship Type="http://schemas.openxmlformats.org/officeDocument/2006/relationships/tags" Target="/ppt/tags/tag669.xml" Id="rId26" /><Relationship Type="http://schemas.openxmlformats.org/officeDocument/2006/relationships/tags" Target="/ppt/tags/tag646.xml" Id="rId3" /><Relationship Type="http://schemas.openxmlformats.org/officeDocument/2006/relationships/tags" Target="/ppt/tags/tag664.xml" Id="rId21" /><Relationship Type="http://schemas.openxmlformats.org/officeDocument/2006/relationships/chart" Target="/ppt/charts/chart22.xml" Id="rId34" /><Relationship Type="http://schemas.openxmlformats.org/officeDocument/2006/relationships/tags" Target="/ppt/tags/tag650.xml" Id="rId7" /><Relationship Type="http://schemas.openxmlformats.org/officeDocument/2006/relationships/tags" Target="/ppt/tags/tag655.xml" Id="rId12" /><Relationship Type="http://schemas.openxmlformats.org/officeDocument/2006/relationships/tags" Target="/ppt/tags/tag660.xml" Id="rId17" /><Relationship Type="http://schemas.openxmlformats.org/officeDocument/2006/relationships/tags" Target="/ppt/tags/tag668.xml" Id="rId25" /><Relationship Type="http://schemas.openxmlformats.org/officeDocument/2006/relationships/image" Target="/ppt/media/image211.emf" Id="rId33" /><Relationship Type="http://schemas.openxmlformats.org/officeDocument/2006/relationships/tags" Target="/ppt/tags/tag645.xml" Id="rId2" /><Relationship Type="http://schemas.openxmlformats.org/officeDocument/2006/relationships/tags" Target="/ppt/tags/tag659.xml" Id="rId16" /><Relationship Type="http://schemas.openxmlformats.org/officeDocument/2006/relationships/tags" Target="/ppt/tags/tag663.xml" Id="rId20" /><Relationship Type="http://schemas.openxmlformats.org/officeDocument/2006/relationships/tags" Target="/ppt/tags/tag672.xml" Id="rId29" /><Relationship Type="http://schemas.openxmlformats.org/officeDocument/2006/relationships/vmlDrawing" Target="/ppt/drawings/vmlDrawing197.vml" Id="rId1" /><Relationship Type="http://schemas.openxmlformats.org/officeDocument/2006/relationships/tags" Target="/ppt/tags/tag649.xml" Id="rId6" /><Relationship Type="http://schemas.openxmlformats.org/officeDocument/2006/relationships/tags" Target="/ppt/tags/tag654.xml" Id="rId11" /><Relationship Type="http://schemas.openxmlformats.org/officeDocument/2006/relationships/tags" Target="/ppt/tags/tag667.xml" Id="rId24" /><Relationship Type="http://schemas.openxmlformats.org/officeDocument/2006/relationships/oleObject" Target="/ppt/embeddings/oleObject197.bin" Id="rId32" /><Relationship Type="http://schemas.openxmlformats.org/officeDocument/2006/relationships/tags" Target="/ppt/tags/tag648.xml" Id="rId5" /><Relationship Type="http://schemas.openxmlformats.org/officeDocument/2006/relationships/tags" Target="/ppt/tags/tag658.xml" Id="rId15" /><Relationship Type="http://schemas.openxmlformats.org/officeDocument/2006/relationships/tags" Target="/ppt/tags/tag666.xml" Id="rId23" /><Relationship Type="http://schemas.openxmlformats.org/officeDocument/2006/relationships/tags" Target="/ppt/tags/tag671.xml" Id="rId28" /><Relationship Type="http://schemas.openxmlformats.org/officeDocument/2006/relationships/tags" Target="/ppt/tags/tag653.xml" Id="rId10" /><Relationship Type="http://schemas.openxmlformats.org/officeDocument/2006/relationships/tags" Target="/ppt/tags/tag662.xml" Id="rId19" /><Relationship Type="http://schemas.openxmlformats.org/officeDocument/2006/relationships/notesSlide" Target="/ppt/notesSlides/notesSlide193.xml" Id="rId31" /><Relationship Type="http://schemas.openxmlformats.org/officeDocument/2006/relationships/tags" Target="/ppt/tags/tag647.xml" Id="rId4" /><Relationship Type="http://schemas.openxmlformats.org/officeDocument/2006/relationships/tags" Target="/ppt/tags/tag652.xml" Id="rId9" /><Relationship Type="http://schemas.openxmlformats.org/officeDocument/2006/relationships/tags" Target="/ppt/tags/tag657.xml" Id="rId14" /><Relationship Type="http://schemas.openxmlformats.org/officeDocument/2006/relationships/tags" Target="/ppt/tags/tag665.xml" Id="rId22" /><Relationship Type="http://schemas.openxmlformats.org/officeDocument/2006/relationships/tags" Target="/ppt/tags/tag670.xml" Id="rId27" /><Relationship Type="http://schemas.openxmlformats.org/officeDocument/2006/relationships/slideLayout" Target="/ppt/slideLayouts/slideLayout5.xml" Id="rId30" /><Relationship Type="http://schemas.openxmlformats.org/officeDocument/2006/relationships/tags" Target="/ppt/tags/tag651.xml" Id="rId8" /></Relationships>
</file>

<file path=ppt/slides/slide19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6A92511-01E3-3B4D-9CD3-912E972ECB5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587839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9687" name="think-cell 幻灯片" r:id="rId32" imgW="360" imgH="360" progId="TCLayout.ActiveDocument.1">
                  <p:embed/>
                </p:oleObj>
              </mc:Choice>
              <mc:Fallback>
                <p:oleObj name="think-cell 幻灯片" r:id="rId32" imgW="360" imgH="36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6A92511-01E3-3B4D-9CD3-912E972ECB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C457DD58-D135-BDE3-D4CA-85EAE84236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Annotations: Multiple CAGR arrows</a:t>
            </a:r>
          </a:p>
        </p:txBody>
      </p:sp>
      <p:graphicFrame>
        <p:nvGraphicFramePr>
          <p:cNvPr id="36" name="Chart 3">
            <a:extLst>
              <a:ext uri="{FF2B5EF4-FFF2-40B4-BE49-F238E27FC236}">
                <a16:creationId xmlns:a16="http://schemas.microsoft.com/office/drawing/2014/main" id="{706382AE-5B8A-44F3-8851-BE27CC664DB0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69030461"/>
              </p:ext>
            </p:extLst>
          </p:nvPr>
        </p:nvGraphicFramePr>
        <p:xfrm>
          <a:off x="320675" y="1258888"/>
          <a:ext cx="11566525" cy="4495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4"/>
          </a:graphicData>
        </a:graphic>
      </p:graphicFrame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C0F36A7-C487-6886-60FD-44225A77332E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 flipV="1">
            <a:off x="1036637" y="2541588"/>
            <a:ext cx="5067300" cy="500063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B1E2183B-9084-BE55-A659-DF76E4D18AE1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 flipV="1">
            <a:off x="6103937" y="1374775"/>
            <a:ext cx="5067300" cy="1166813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" name="Text Placeholder 33">
            <a:extLst>
              <a:ext uri="{FF2B5EF4-FFF2-40B4-BE49-F238E27FC236}">
                <a16:creationId xmlns:a16="http://schemas.microsoft.com/office/drawing/2014/main" id="{B04653B1-7CC7-16E5-8D89-C132891CFD07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806450" y="5507038"/>
            <a:ext cx="4619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4D864361-0F02-4A06-AE26-A79D4497846E}" type="datetime'''2''''''''''''''''''''''0''''''22'''">
              <a:rPr lang="en-US" altLang="en-US" sz="1400" smtClean="0">
                <a:solidFill>
                  <a:srgbClr val="000000"/>
                </a:solidFill>
                <a:latin typeface="+mn-lt"/>
                <a:cs typeface="+mn-cs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022</a:t>
            </a:fld>
            <a:endParaRPr kumimoji="0" lang="en-US" sz="14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cs typeface="+mn-cs"/>
            </a:endParaRPr>
          </a:p>
        </p:txBody>
      </p:sp>
      <p:sp>
        <p:nvSpPr>
          <p:cNvPr id="10" name="Text Placeholder 33">
            <a:extLst>
              <a:ext uri="{FF2B5EF4-FFF2-40B4-BE49-F238E27FC236}">
                <a16:creationId xmlns:a16="http://schemas.microsoft.com/office/drawing/2014/main" id="{E2B7F7DF-0EC6-9E2D-F77C-DF4FBE90012B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2073275" y="5507038"/>
            <a:ext cx="4603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F10D45A5-659A-4364-A42D-DFD3BB18DDD2}" type="datetime'''''''2''''''''''''''''''''''''''''''02''3'''''''">
              <a:rPr lang="en-US" altLang="en-US" sz="1400" smtClean="0">
                <a:solidFill>
                  <a:srgbClr val="000000"/>
                </a:solidFill>
                <a:latin typeface="+mn-lt"/>
                <a:cs typeface="+mn-cs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023</a:t>
            </a:fld>
            <a:endParaRPr kumimoji="0" lang="en-US" sz="14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cs typeface="+mn-cs"/>
            </a:endParaRPr>
          </a:p>
        </p:txBody>
      </p:sp>
      <p:sp>
        <p:nvSpPr>
          <p:cNvPr id="11" name="Text Placeholder 33">
            <a:extLst>
              <a:ext uri="{FF2B5EF4-FFF2-40B4-BE49-F238E27FC236}">
                <a16:creationId xmlns:a16="http://schemas.microsoft.com/office/drawing/2014/main" id="{41EAFAB6-5B04-42A9-4D49-252CAA4F2B51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3338513" y="5507038"/>
            <a:ext cx="4651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8242C11A-C67D-4B77-9421-A6D44646CC6B}" type="datetime'''''''''''''''''''''''2''''''''''''''''0''''''''2''''''''4'''">
              <a:rPr lang="en-US" altLang="en-US" sz="1400" smtClean="0">
                <a:solidFill>
                  <a:srgbClr val="000000"/>
                </a:solidFill>
                <a:latin typeface="+mn-lt"/>
                <a:cs typeface="+mn-cs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024</a:t>
            </a:fld>
            <a:endParaRPr kumimoji="0" lang="en-US" sz="14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cs typeface="+mn-cs"/>
            </a:endParaRPr>
          </a:p>
        </p:txBody>
      </p:sp>
      <p:sp>
        <p:nvSpPr>
          <p:cNvPr id="13" name="Text Placeholder 33">
            <a:extLst>
              <a:ext uri="{FF2B5EF4-FFF2-40B4-BE49-F238E27FC236}">
                <a16:creationId xmlns:a16="http://schemas.microsoft.com/office/drawing/2014/main" id="{C6853431-4E80-F0CA-A60A-696DB061F1C0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4605338" y="5507038"/>
            <a:ext cx="4635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4DC28AD1-B743-4E95-80D9-29D2EB1BEA1E}" type="datetime'''''20''''''''''''''''''''25'''''''''">
              <a:rPr lang="en-US" altLang="en-US" sz="1400" smtClean="0">
                <a:solidFill>
                  <a:srgbClr val="000000"/>
                </a:solidFill>
                <a:latin typeface="+mn-lt"/>
                <a:cs typeface="+mn-cs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025</a:t>
            </a:fld>
            <a:endParaRPr kumimoji="0" lang="en-US" sz="14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cs typeface="+mn-cs"/>
            </a:endParaRPr>
          </a:p>
        </p:txBody>
      </p:sp>
      <p:sp>
        <p:nvSpPr>
          <p:cNvPr id="14" name="Text Placeholder 33">
            <a:extLst>
              <a:ext uri="{FF2B5EF4-FFF2-40B4-BE49-F238E27FC236}">
                <a16:creationId xmlns:a16="http://schemas.microsoft.com/office/drawing/2014/main" id="{FF2579BA-910E-68A4-02AF-366A41A94461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5873750" y="5507038"/>
            <a:ext cx="4619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B4E2EAC5-9705-4381-B670-52D482AF156C}" type="datetime'''''''''''2''''0''''''''2''''6'''''''''''''''''''''''''''''">
              <a:rPr lang="en-US" altLang="en-US" sz="1400" smtClean="0">
                <a:solidFill>
                  <a:srgbClr val="000000"/>
                </a:solidFill>
                <a:latin typeface="+mn-lt"/>
                <a:cs typeface="+mn-cs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026</a:t>
            </a:fld>
            <a:endParaRPr kumimoji="0" lang="en-US" sz="14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cs typeface="+mn-cs"/>
            </a:endParaRPr>
          </a:p>
        </p:txBody>
      </p:sp>
      <p:sp>
        <p:nvSpPr>
          <p:cNvPr id="15" name="Text Placeholder 33">
            <a:extLst>
              <a:ext uri="{FF2B5EF4-FFF2-40B4-BE49-F238E27FC236}">
                <a16:creationId xmlns:a16="http://schemas.microsoft.com/office/drawing/2014/main" id="{4D11FCAB-8310-9FC0-E121-E8E50A808E60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7146925" y="5507038"/>
            <a:ext cx="4476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9DFC3EA3-0819-4D6E-B6B9-981D5ECB21E6}" type="datetime'''202''''''''7'''''''''''''''''''''''''''''''''''''''''''''''">
              <a:rPr lang="en-US" altLang="en-US" sz="1400" smtClean="0">
                <a:solidFill>
                  <a:srgbClr val="000000"/>
                </a:solidFill>
                <a:latin typeface="+mn-lt"/>
                <a:cs typeface="+mn-cs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027</a:t>
            </a:fld>
            <a:endParaRPr kumimoji="0" lang="en-US" sz="14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cs typeface="+mn-cs"/>
            </a:endParaRPr>
          </a:p>
        </p:txBody>
      </p:sp>
      <p:sp>
        <p:nvSpPr>
          <p:cNvPr id="16" name="Text Placeholder 33">
            <a:extLst>
              <a:ext uri="{FF2B5EF4-FFF2-40B4-BE49-F238E27FC236}">
                <a16:creationId xmlns:a16="http://schemas.microsoft.com/office/drawing/2014/main" id="{D2DE583F-8268-2428-521A-A98DA12DB6F7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8405813" y="5507038"/>
            <a:ext cx="4651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186E71ED-5ACD-4BAD-B4B9-E5240DF68779}" type="datetime'2''''''''''''''''''0''2''''''''''''''''''''''''''''''8'''''''">
              <a:rPr lang="en-US" altLang="en-US" sz="1400" smtClean="0">
                <a:solidFill>
                  <a:srgbClr val="000000"/>
                </a:solidFill>
                <a:latin typeface="+mn-lt"/>
                <a:cs typeface="+mn-cs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028</a:t>
            </a:fld>
            <a:endParaRPr kumimoji="0" lang="en-US" sz="14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cs typeface="+mn-cs"/>
            </a:endParaRPr>
          </a:p>
        </p:txBody>
      </p:sp>
      <p:sp>
        <p:nvSpPr>
          <p:cNvPr id="17" name="Text Placeholder 33">
            <a:extLst>
              <a:ext uri="{FF2B5EF4-FFF2-40B4-BE49-F238E27FC236}">
                <a16:creationId xmlns:a16="http://schemas.microsoft.com/office/drawing/2014/main" id="{2647D264-6006-28EE-867F-EA5A5CB21AE8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9674225" y="5507038"/>
            <a:ext cx="4619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A8E38164-E3D1-42C4-8413-06D454B5B138}" type="datetime'''''''2''''''''''''''''''''''''''''''0''''''''29'''">
              <a:rPr lang="en-US" altLang="en-US" sz="1400" smtClean="0">
                <a:solidFill>
                  <a:srgbClr val="000000"/>
                </a:solidFill>
                <a:latin typeface="+mn-lt"/>
                <a:cs typeface="+mn-cs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029</a:t>
            </a:fld>
            <a:endParaRPr kumimoji="0" lang="en-US" sz="14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cs typeface="+mn-cs"/>
            </a:endParaRPr>
          </a:p>
        </p:txBody>
      </p:sp>
      <p:sp>
        <p:nvSpPr>
          <p:cNvPr id="18" name="Text Placeholder 33">
            <a:extLst>
              <a:ext uri="{FF2B5EF4-FFF2-40B4-BE49-F238E27FC236}">
                <a16:creationId xmlns:a16="http://schemas.microsoft.com/office/drawing/2014/main" id="{5A1F1E7C-21EA-EFE5-C44E-BF1FD1D9DF5D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10939463" y="5507038"/>
            <a:ext cx="4651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75E90291-0E91-4DE1-9D9A-CB76F9999AD8}" type="datetime'''''''''''20''''''''''3''''''''''''0'''''">
              <a:rPr lang="en-US" altLang="en-US" sz="1400" smtClean="0">
                <a:solidFill>
                  <a:srgbClr val="000000"/>
                </a:solidFill>
                <a:latin typeface="+mn-lt"/>
                <a:cs typeface="+mn-cs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030</a:t>
            </a:fld>
            <a:endParaRPr kumimoji="0" lang="en-US" sz="14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cs typeface="+mn-cs"/>
            </a:endParaRP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814388" y="3382963"/>
            <a:ext cx="4460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68C8B24-2FCA-4050-9222-07864E1FC1C0}" type="datetime'''''''''4''''''''''''''''''''0.''''''''''0''''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0.0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2111376" y="3305175"/>
            <a:ext cx="3857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DC9FF5F-ECE4-407B-857E-440FD42955B2}" type="datetime'''''''''''''''''''4''1''.''''''''''''''''7''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1.7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3370263" y="3151188"/>
            <a:ext cx="4016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11C53A5-ABE1-4BE7-A29D-BB1851073958}" type="datetime'''''''''4''''5.''''''''''''''''''''''1''''''''''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5.1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4618038" y="2789238"/>
            <a:ext cx="4381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A34482A-3593-4C9B-974F-789845E8E7D1}" type="datetime'''''''''''''''''''''''''''''''5''''3''''''''''''.0''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3.0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5884863" y="2882900"/>
            <a:ext cx="4397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669FEE4-1B5C-4279-8654-005BE2456449}" type="datetime'''''''''''5''''''''''''''''''0''''''''''''''''''''.''''''9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0.9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7153275" y="2457450"/>
            <a:ext cx="4365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DB326C3-E5DA-4A3E-8997-F088AC6D68EE}" type="datetime'''''''''''''''''''6''0''''''.''3''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0.3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8420100" y="2341563"/>
            <a:ext cx="4365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CDB97FD-7023-417B-94AC-C278069AFD49}" type="datetime'''''''''6''''2''.''''''''8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2.8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9699625" y="1978025"/>
            <a:ext cx="4095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0BE7745-F7E6-47E3-BE66-CB3EAC3E1DF3}" type="datetime'''''''''7''''''''''''0''''.''''''''''7''''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0.7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10961688" y="1716088"/>
            <a:ext cx="4206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3F48F98-2AC0-40A9-8B9E-6A6E071D35DA}" type="datetime'''''''''''''''''''''''7''''''6.''''''''''''''''''''''''''5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6.5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3013075" y="2640013"/>
            <a:ext cx="1114425" cy="301625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13FD909-0205-405B-8AED-4A2528659BF8}" type="datetime'''''''''''''+6''''''''''''''''''''''''''''''%'''''''">
              <a:rPr lang="en-US" altLang="en-US" sz="1400" b="1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+6%</a:t>
            </a:fld>
            <a:r>
              <a:rPr lang="en-US" altLang="en-US" sz="1400" b="1">
                <a:solidFill>
                  <a:schemeClr val="bg2">
                    <a:lumMod val="10000"/>
                  </a:schemeClr>
                </a:solidFill>
                <a:effectLst/>
              </a:rPr>
              <a:t> p.a.</a:t>
            </a:r>
            <a:endParaRPr lang="en-US" sz="1400" b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8047038" y="1806575"/>
            <a:ext cx="1181100" cy="301625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E08F742-6016-48E3-BB7A-9967E739595A}" type="datetime'''''''''''''''''''+''''1''''''1''''''%'''''''''''''''''">
              <a:rPr lang="en-US" altLang="en-US" sz="1400" b="1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+11%</a:t>
            </a:fld>
            <a:r>
              <a:rPr lang="en-US" altLang="en-US" sz="1400" b="1">
                <a:solidFill>
                  <a:schemeClr val="bg2">
                    <a:lumMod val="10000"/>
                  </a:schemeClr>
                </a:solidFill>
                <a:effectLst/>
              </a:rPr>
              <a:t> p.a.</a:t>
            </a:r>
            <a:endParaRPr lang="en-US" sz="1400" b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DBF0E804-7D21-325E-53FB-1A7530437E1F}"/>
              </a:ext>
            </a:extLst>
          </p:cNvPr>
          <p:cNvSpPr/>
          <p:nvPr>
            <p:custDataLst>
              <p:tags r:id="rId26"/>
            </p:custDataLst>
          </p:nvPr>
        </p:nvSpPr>
        <p:spPr bwMode="auto">
          <a:xfrm>
            <a:off x="474663" y="1641475"/>
            <a:ext cx="250825" cy="187325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1AF548BC-1008-60E0-E47C-5CC4270277CF}"/>
              </a:ext>
            </a:extLst>
          </p:cNvPr>
          <p:cNvSpPr/>
          <p:nvPr>
            <p:custDataLst>
              <p:tags r:id="rId27"/>
            </p:custDataLst>
          </p:nvPr>
        </p:nvSpPr>
        <p:spPr bwMode="auto">
          <a:xfrm>
            <a:off x="474663" y="1905000"/>
            <a:ext cx="250825" cy="187325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ED354DFD-F296-85E6-0EE3-B091CAE79D42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776288" y="1636713"/>
            <a:ext cx="17319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spcBef>
                <a:spcPct val="0"/>
              </a:spcBef>
              <a:spcAft>
                <a:spcPct val="0"/>
              </a:spcAft>
              <a:buNone/>
            </a:pPr>
            <a:fld id="{AF7F36DB-2003-4E52-B151-F86053675846}" type="datetime'''''''Re''ven''''''''''''ue'' ''''E''''''''MEA,'' $''bn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2" indent="0">
                <a:spcBef>
                  <a:spcPct val="0"/>
                </a:spcBef>
                <a:spcAft>
                  <a:spcPct val="0"/>
                </a:spcAft>
                <a:buNone/>
              </a:pPr>
              <a:t>Revenue EMEA, $bn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57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776288" y="1900238"/>
            <a:ext cx="20351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spcBef>
                <a:spcPct val="0"/>
              </a:spcBef>
              <a:spcAft>
                <a:spcPct val="0"/>
              </a:spcAft>
              <a:buNone/>
            </a:pPr>
            <a:fld id="{A2C74BA5-8C47-49EC-BCDB-D0D2EA8F15D4}" type="datetime'Revenu''e A''''''''''''''me''''r''i''cas'''', $b''''''n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2" indent="0">
                <a:spcBef>
                  <a:spcPct val="0"/>
                </a:spcBef>
                <a:spcAft>
                  <a:spcPct val="0"/>
                </a:spcAft>
                <a:buNone/>
              </a:pPr>
              <a:t>Revenue Americas, $bn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Text Placeholder 15">
            <a:extLst>
              <a:ext uri="{FF2B5EF4-FFF2-40B4-BE49-F238E27FC236}">
                <a16:creationId xmlns:a16="http://schemas.microsoft.com/office/drawing/2014/main" id="{0F15E638-02FA-6428-BAC2-9C097992E5CB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5269071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arrow, stacked, column, columns, bar, bars, think-cell, chart, charts, graph, graphs</a:t>
            </a: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E20C8570-0CB3-6150-D4FC-70274824CE84}"/>
              </a:ext>
            </a:extLst>
          </p:cNvPr>
          <p:cNvSpPr txBox="1">
            <a:spLocks/>
          </p:cNvSpPr>
          <p:nvPr/>
        </p:nvSpPr>
        <p:spPr>
          <a:xfrm>
            <a:off x="403731" y="886115"/>
            <a:ext cx="7062876" cy="4437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1400" b="0"/>
              <a:t>Insert a CAGR arrow to depict compound growth between categories.</a:t>
            </a:r>
          </a:p>
          <a:p>
            <a:pPr>
              <a:defRPr/>
            </a:pPr>
            <a:r>
              <a:rPr lang="en-US" sz="1400" b="0"/>
              <a:t>To specify where an arrow starts and ends, drag the handles at the ends of the arrow.</a:t>
            </a:r>
          </a:p>
        </p:txBody>
      </p:sp>
      <p:sp>
        <p:nvSpPr>
          <p:cNvPr id="20" name="Rectangle 18">
            <a:extLst>
              <a:ext uri="{FF2B5EF4-FFF2-40B4-BE49-F238E27FC236}">
                <a16:creationId xmlns:a16="http://schemas.microsoft.com/office/drawing/2014/main" id="{79081081-E67A-A3EE-65E1-D653FC7B8ED7}"/>
              </a:ext>
            </a:extLst>
          </p:cNvPr>
          <p:cNvSpPr>
            <a:spLocks/>
          </p:cNvSpPr>
          <p:nvPr/>
        </p:nvSpPr>
        <p:spPr>
          <a:xfrm>
            <a:off x="8811106" y="-805994"/>
            <a:ext cx="4575600" cy="13653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1524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b">
            <a:spAutoFit/>
          </a:bodyPr>
          <a:lstStyle/>
          <a:p>
            <a:r>
              <a:rPr lang="en-US" sz="1200" u="sng">
                <a:solidFill>
                  <a:schemeClr val="tx1"/>
                </a:solidFill>
              </a:rPr>
              <a:t>This slide contains a </a:t>
            </a:r>
            <a:r>
              <a:rPr lang="en-US" sz="1200" b="1" u="sng">
                <a:solidFill>
                  <a:schemeClr val="tx1"/>
                </a:solidFill>
              </a:rPr>
              <a:t>think-cell chart</a:t>
            </a:r>
            <a:r>
              <a:rPr lang="en-US" sz="1200" u="sng">
                <a:solidFill>
                  <a:schemeClr val="tx1"/>
                </a:solidFill>
              </a:rPr>
              <a:t>.</a:t>
            </a: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To</a:t>
            </a:r>
            <a:r>
              <a:rPr lang="en-US" sz="1200" b="1">
                <a:solidFill>
                  <a:schemeClr val="tx1"/>
                </a:solidFill>
              </a:rPr>
              <a:t> open the chart's internal datasheet</a:t>
            </a:r>
            <a:r>
              <a:rPr lang="en-US" sz="1200">
                <a:solidFill>
                  <a:schemeClr val="tx1"/>
                </a:solidFill>
              </a:rPr>
              <a:t>, double-click</a:t>
            </a:r>
            <a:r>
              <a:rPr lang="en-US" sz="1200" b="1">
                <a:solidFill>
                  <a:schemeClr val="tx1"/>
                </a:solidFill>
              </a:rPr>
              <a:t> </a:t>
            </a:r>
            <a:r>
              <a:rPr lang="en-US" sz="1200">
                <a:solidFill>
                  <a:schemeClr val="tx1"/>
                </a:solidFill>
              </a:rPr>
              <a:t>any empty space in the chart.</a:t>
            </a:r>
            <a:endParaRPr lang="en-US" sz="1200">
              <a:solidFill>
                <a:schemeClr val="tx1"/>
              </a:solidFill>
              <a:cs typeface="Arial"/>
            </a:endParaRP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To </a:t>
            </a:r>
            <a:r>
              <a:rPr lang="en-US" sz="1200" b="1">
                <a:solidFill>
                  <a:schemeClr val="tx1"/>
                </a:solidFill>
              </a:rPr>
              <a:t>add annotations </a:t>
            </a:r>
            <a:r>
              <a:rPr lang="en-US" sz="1200">
                <a:solidFill>
                  <a:schemeClr val="tx1"/>
                </a:solidFill>
              </a:rPr>
              <a:t>(e.g., CAGR arrows, difference arrows),</a:t>
            </a:r>
            <a:r>
              <a:rPr lang="en-US" sz="1200" b="1">
                <a:solidFill>
                  <a:schemeClr val="tx1"/>
                </a:solidFill>
              </a:rPr>
              <a:t> </a:t>
            </a:r>
            <a:r>
              <a:rPr lang="en-US" sz="1200">
                <a:solidFill>
                  <a:schemeClr val="tx1"/>
                </a:solidFill>
              </a:rPr>
              <a:t>right-click the chart or a chart feature to open the context menu.</a:t>
            </a:r>
            <a:endParaRPr lang="en-US" sz="1200">
              <a:solidFill>
                <a:schemeClr val="tx1"/>
              </a:solidFill>
              <a:cs typeface="Arial"/>
            </a:endParaRP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To </a:t>
            </a:r>
            <a:r>
              <a:rPr lang="en-US" sz="1200" b="1">
                <a:solidFill>
                  <a:schemeClr val="tx1"/>
                </a:solidFill>
              </a:rPr>
              <a:t>change the style and formatting</a:t>
            </a:r>
            <a:r>
              <a:rPr lang="en-US" sz="1200">
                <a:solidFill>
                  <a:schemeClr val="tx1"/>
                </a:solidFill>
              </a:rPr>
              <a:t> of the chart or a feature,</a:t>
            </a:r>
            <a:r>
              <a:rPr lang="en-US" sz="1200" b="1">
                <a:solidFill>
                  <a:schemeClr val="tx1"/>
                </a:solidFill>
              </a:rPr>
              <a:t> </a:t>
            </a:r>
            <a:r>
              <a:rPr lang="en-US" sz="1200">
                <a:solidFill>
                  <a:schemeClr val="tx1"/>
                </a:solidFill>
              </a:rPr>
              <a:t>click the chart or feature to open the mini toolbar.</a:t>
            </a:r>
            <a:endParaRPr lang="en-US" sz="1200">
              <a:solidFill>
                <a:schemeClr val="tx1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595020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YcCf_plSK62QpxZivTHw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pnwI6xwV5L6p_U69WS.Q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ILdvS5p_eY9ZtikLyzscw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nSndZMemy3UaXUWbTtAw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v2Tmh9luVN2PjPmyZv8A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Z4SJ9ZvvTC.A9mEXhsOQ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FE5VBvd04hFH89JrfyLg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_zv7W0BwjO8oIjyvHmg3w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6fVwMRjnMYKDEYZJAc_UA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0gWrlpecb2bGjz1VueOEg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2u4tRO7oLMb85gyZqUHg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TLmFAxEuxMekdKDvq6aA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ZwlQoXfzrQm1jMSPhzgw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02xh4u9m5SUQXqsGGuYyQ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61NyqBay.cNz_nClUrBg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L3_c38_Ooyzmqb3X4vg7A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bcCBlxA96moYcreA7k.Q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kldaiJ3YtiPOdsHYq6iw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SNxJcx1T2tPo5oS5kEDQ"/>
</p:tagLst>
</file>

<file path=ppt/tags/tag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aH.L.ABCPM_qJ.pAMaGFw"/>
</p:tagLst>
</file>

<file path=ppt/tags/tag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WoVEYbveUfxtGovsDnYw"/>
</p:tagLst>
</file>

<file path=ppt/tags/tag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f9iCf62BesnuSCkBskyA"/>
</p:tagLst>
</file>

<file path=ppt/tags/tag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2PeNoM_sF9XgsrLxrFsA"/>
</p:tagLst>
</file>

<file path=ppt/tags/tag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3dS4w8ihIw1BYHPUcgCg"/>
</p:tagLst>
</file>

<file path=ppt/tags/tag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BMG_enETVD1JxQCKQqTA"/>
</p:tagLst>
</file>

<file path=ppt/tags/tag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OPIDmv8cnMrh5BKlQG0w"/>
</p:tagLst>
</file>

<file path=ppt/tags/tag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lVyyTJAg_PCDQEzWir9A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